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26"/>
  </p:notesMasterIdLst>
  <p:handoutMasterIdLst>
    <p:handoutMasterId r:id="rId27"/>
  </p:handoutMasterIdLst>
  <p:sldIdLst>
    <p:sldId id="418" r:id="rId24"/>
    <p:sldId id="515" r:id="rId25"/>
  </p:sldIdLst>
  <p:sldSz cx="9144000" cy="5143500" type="screen16x9"/>
  <p:notesSz cx="6883400" cy="9906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00D318"/>
    <a:srgbClr val="A02BFF"/>
    <a:srgbClr val="00CEFF"/>
    <a:srgbClr val="EA288C"/>
    <a:srgbClr val="BB0F9A"/>
    <a:srgbClr val="FFFF00"/>
    <a:srgbClr val="FDFD87"/>
    <a:srgbClr val="4D4D4D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3606" autoAdjust="0"/>
  </p:normalViewPr>
  <p:slideViewPr>
    <p:cSldViewPr snapToGrid="0" snapToObjects="1">
      <p:cViewPr varScale="1">
        <p:scale>
          <a:sx n="90" d="100"/>
          <a:sy n="90" d="100"/>
        </p:scale>
        <p:origin x="114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0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0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6/10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1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6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2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1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6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7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96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42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11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pt-BR" dirty="0" smtClean="0"/>
              <a:t>Projetos estratégicos</a:t>
            </a:r>
            <a:br>
              <a:rPr lang="pt-BR" dirty="0" smtClean="0"/>
            </a:br>
            <a:r>
              <a:rPr lang="pt-BR" dirty="0"/>
              <a:t/>
            </a:r>
            <a:br>
              <a:rPr lang="pt-BR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890305"/>
            <a:ext cx="3979804" cy="259647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-   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alta de conhecimento da complexidade/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qt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 requisitos e regras de negócio por TI, com a dependência de definição previa do usuário até o inicio da etapa de DSOL. (esta indefinição tem impacto direto no planejamento de entrega das ondas) </a:t>
            </a:r>
          </a:p>
          <a:p>
            <a:pPr marL="171450" indent="-171450">
              <a:buFontTx/>
              <a:buChar char="-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 cronograma d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gram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(Detecção) cri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 partir da RFP sem detalhamento dos macro requisitos e insumos informacionai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de ondas e aderência aos calendários de release OI dependem da definição de requisitos, regras e critérios de aceitação por parte do usuário de fraude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e SLA de tempo de resposta de chamada online a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pende do envolvimento das Gerências de Crédito e Vendas.</a:t>
            </a:r>
          </a:p>
          <a:p>
            <a:pPr marL="171450" indent="-171450">
              <a:buFontTx/>
              <a:buChar char="-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mplantação da Onda 2 com dependência direta da disponibilização do ambiente de Produção. (Est. AGO/18). (Análise de contingências em andamento CSOL junto às gerencias de Infra)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sz="1400" dirty="0" smtClean="0"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58702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50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2" name="Botão de ação: Informações 107">
            <a:hlinkClick r:id="rId3" action="ppaction://hlinksldjump" highlightClick="1"/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503801" y="1261325"/>
            <a:ext cx="180000" cy="180000"/>
          </a:xfrm>
          <a:prstGeom prst="actionButtonInformation">
            <a:avLst/>
          </a:prstGeom>
          <a:solidFill>
            <a:srgbClr val="4D4E50">
              <a:lumMod val="20000"/>
              <a:lumOff val="80000"/>
            </a:srgbClr>
          </a:solidFill>
          <a:ln w="9525" cap="flat" cmpd="sng" algn="ctr">
            <a:solidFill>
              <a:srgbClr val="4D4E5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-106" charset="0"/>
              <a:buNone/>
              <a:tabLst/>
              <a:defRPr/>
            </a:pP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7870169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</a:t>
            </a:r>
            <a:r>
              <a:rPr lang="pt-BR" sz="800" i="1">
                <a:latin typeface="Simplon BP Regular"/>
                <a:cs typeface="Simplon BP Regular"/>
              </a:rPr>
              <a:t>- </a:t>
            </a:r>
            <a:r>
              <a:rPr lang="pt-BR" sz="800" i="1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8710521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ograma Novo </a:t>
            </a:r>
            <a:r>
              <a:rPr lang="pt-BR" sz="1600" dirty="0"/>
              <a:t>antifraude RAID-FMS (</a:t>
            </a:r>
            <a:r>
              <a:rPr lang="pt-BR" sz="1600" dirty="0" smtClean="0"/>
              <a:t>PRJ00024387 – INFRA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15566"/>
            <a:ext cx="397751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dirty="0" smtClean="0"/>
              <a:t>Frente Infra:</a:t>
            </a:r>
            <a:r>
              <a:rPr lang="pt-BR" sz="1000" dirty="0" smtClean="0"/>
              <a:t>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Aquisição de HW DEV/HML/PRD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t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bertura PRJ infra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16/08/17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G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67</a:t>
            </a:r>
            <a:endParaRPr lang="pt-BR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DEV/HML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uardando inicio DSOL em 16/10, previsão entrega ambiente DEV em 14/11;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PRD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Em revisão de ETI HW considerando novas premissas volumetria informadas pelo usuário</a:t>
            </a:r>
          </a:p>
          <a:p>
            <a:pPr lvl="0">
              <a:spcAft>
                <a:spcPts val="0"/>
              </a:spcAft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ente Funcional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evantamento e elaboração </a:t>
            </a:r>
            <a:r>
              <a:rPr lang="pt-BR" sz="1000" b="1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m validação Oi. PDP WEDO em </a:t>
            </a:r>
            <a:r>
              <a:rPr lang="pt-BR" sz="100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ndamento até 11/10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tup Programa 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Informada a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G60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ara o Programa 1 RAID-FMS. Criado PRJ25351, aguardando detalhamento de requisitos pelo usuário para criação de subprojeto e alocação de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T´s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lanejamento e Governanç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 Macro cronograma consolidado da Onda 2 revisado por TI divulgado para usuário e WEDO. Demais ondas dependem de abertura de PRJ e definição de requisitos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697831"/>
            <a:ext cx="811845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Entrega 1º lote de regras Onda 2; Resp.: Kleyton Data: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06/10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09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Criar subprojeto para Onda 2;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Resp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; Marcio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Data: 20/10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Inicio elaboração DSOL Onda 2: Resp.: Oi RJ/BH-WEDO BR/PT Data: 23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Criar Projeto Onda 3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(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RAID-FMS 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); Resp.: Kleyton/Marcio Relacionamento Data: 11/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Elaborar ETI e CF para aquisição ambiente Produtivo; Resp.: Fabian Data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: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06/10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0/10 - Concluída</a:t>
            </a:r>
            <a:endParaRPr lang="pt-BR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Reunião de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Handover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 do ambiente de PRD: P&amp;I Data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6/10 - Concluída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Iniciar DSOL DEV/HML; Resp.: Alexandre Nascimento Data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: 16/10 – Concluí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Término DSOL DEV/HML – Resp.: </a:t>
            </a:r>
            <a:r>
              <a:rPr lang="pt-BR" sz="1000" smtClean="0">
                <a:latin typeface="Simplon BP Light" pitchFamily="2" charset="0"/>
                <a:cs typeface="Times New Roman" panose="02020603050405020304" pitchFamily="18" charset="0"/>
              </a:rPr>
              <a:t>Wagner – Data: 26/10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O7Cy1S9E6ATRHa6Z.I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0426</TotalTime>
  <Words>462</Words>
  <Application>Microsoft Office PowerPoint</Application>
  <PresentationFormat>Apresentação na tela (16:9)</PresentationFormat>
  <Paragraphs>37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36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s estratégicos  </vt:lpstr>
      <vt:lpstr>Programa Novo antifraude RAID-FMS (PRJ00024387 – INFRA) Escopo: Implementar nova Solução Antifraude na Oi a partir da aplicação RAID-FM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Usuário do Windows</cp:lastModifiedBy>
  <cp:revision>2216</cp:revision>
  <cp:lastPrinted>2017-08-29T20:31:32Z</cp:lastPrinted>
  <dcterms:created xsi:type="dcterms:W3CDTF">2013-05-14T05:19:21Z</dcterms:created>
  <dcterms:modified xsi:type="dcterms:W3CDTF">2017-10-16T18:1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